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0BD19-A33C-3EBB-ACAD-8932CF4C6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EE24CE4-6AEB-A93D-2400-644E0D340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E24CE4-6AEB-A93D-2400-644E0D340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666915-076E-6AC1-743C-332CB88EB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D060FC-A599-0EA7-9B26-84F027051CA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22455C-99F0-2900-00C7-D91142B1F9C4}"/>
              </a:ext>
            </a:extLst>
          </p:cNvPr>
          <p:cNvSpPr/>
          <p:nvPr/>
        </p:nvSpPr>
        <p:spPr>
          <a:xfrm>
            <a:off x="492528" y="2342319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F9E9947-47C9-EA09-2C68-367A8F11BCEB}"/>
              </a:ext>
            </a:extLst>
          </p:cNvPr>
          <p:cNvSpPr/>
          <p:nvPr/>
        </p:nvSpPr>
        <p:spPr>
          <a:xfrm>
            <a:off x="492528" y="3081198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DDC974-D53D-E4EB-45C4-FF985B378FFA}"/>
              </a:ext>
            </a:extLst>
          </p:cNvPr>
          <p:cNvSpPr/>
          <p:nvPr/>
        </p:nvSpPr>
        <p:spPr>
          <a:xfrm>
            <a:off x="492528" y="3820077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88EE8C-F253-726E-F289-283F27A15FF1}"/>
              </a:ext>
            </a:extLst>
          </p:cNvPr>
          <p:cNvSpPr/>
          <p:nvPr/>
        </p:nvSpPr>
        <p:spPr>
          <a:xfrm>
            <a:off x="492528" y="4558956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B9D671-3134-976C-71D9-40FB0DEAD83F}"/>
              </a:ext>
            </a:extLst>
          </p:cNvPr>
          <p:cNvSpPr/>
          <p:nvPr/>
        </p:nvSpPr>
        <p:spPr>
          <a:xfrm>
            <a:off x="492528" y="5297833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9B5B3C-EA13-37A0-5869-E338C6E8BCF6}"/>
              </a:ext>
            </a:extLst>
          </p:cNvPr>
          <p:cNvSpPr/>
          <p:nvPr/>
        </p:nvSpPr>
        <p:spPr>
          <a:xfrm>
            <a:off x="492528" y="1603440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8633965-85E4-8718-4911-7D70E57923E0}"/>
              </a:ext>
            </a:extLst>
          </p:cNvPr>
          <p:cNvSpPr/>
          <p:nvPr/>
        </p:nvSpPr>
        <p:spPr>
          <a:xfrm>
            <a:off x="624304" y="1776124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6493CF-B63F-DFC6-7321-7853E78F083D}"/>
              </a:ext>
            </a:extLst>
          </p:cNvPr>
          <p:cNvSpPr/>
          <p:nvPr/>
        </p:nvSpPr>
        <p:spPr>
          <a:xfrm>
            <a:off x="624304" y="2515003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C4EDB68-0E7F-7FA2-0B24-8C686AE5A477}"/>
              </a:ext>
            </a:extLst>
          </p:cNvPr>
          <p:cNvSpPr/>
          <p:nvPr/>
        </p:nvSpPr>
        <p:spPr>
          <a:xfrm>
            <a:off x="624304" y="3253882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535854D-A9E2-9098-7FC4-75F80DC4B11B}"/>
              </a:ext>
            </a:extLst>
          </p:cNvPr>
          <p:cNvSpPr/>
          <p:nvPr/>
        </p:nvSpPr>
        <p:spPr>
          <a:xfrm>
            <a:off x="624304" y="3992761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AC79F5C-D98A-0C08-6036-4F6C237DC253}"/>
              </a:ext>
            </a:extLst>
          </p:cNvPr>
          <p:cNvSpPr/>
          <p:nvPr/>
        </p:nvSpPr>
        <p:spPr>
          <a:xfrm>
            <a:off x="624304" y="4731640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0A08D1-E21C-2B08-C95A-3072A272EFC8}"/>
              </a:ext>
            </a:extLst>
          </p:cNvPr>
          <p:cNvSpPr/>
          <p:nvPr/>
        </p:nvSpPr>
        <p:spPr>
          <a:xfrm>
            <a:off x="624304" y="5470517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4ED0D8D-1DC2-AC3A-DF95-7115AC9B77D6}"/>
              </a:ext>
            </a:extLst>
          </p:cNvPr>
          <p:cNvGrpSpPr/>
          <p:nvPr/>
        </p:nvGrpSpPr>
        <p:grpSpPr>
          <a:xfrm>
            <a:off x="4659694" y="1258786"/>
            <a:ext cx="6613267" cy="4504704"/>
            <a:chOff x="3976787" y="1258786"/>
            <a:chExt cx="6613267" cy="450470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DBE5277-66F6-0F6E-E00B-8E3338EA6A86}"/>
                </a:ext>
              </a:extLst>
            </p:cNvPr>
            <p:cNvSpPr/>
            <p:nvPr/>
          </p:nvSpPr>
          <p:spPr>
            <a:xfrm>
              <a:off x="7331773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4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367ADC-0623-8EC2-EBAB-93FD334BDF41}"/>
                </a:ext>
              </a:extLst>
            </p:cNvPr>
            <p:cNvSpPr/>
            <p:nvPr/>
          </p:nvSpPr>
          <p:spPr>
            <a:xfrm>
              <a:off x="3976787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1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387EEA4-574A-D3CA-754F-22A406BEA201}"/>
                </a:ext>
              </a:extLst>
            </p:cNvPr>
            <p:cNvGrpSpPr/>
            <p:nvPr/>
          </p:nvGrpSpPr>
          <p:grpSpPr>
            <a:xfrm>
              <a:off x="4255770" y="1698595"/>
              <a:ext cx="370502" cy="370502"/>
              <a:chOff x="3551571" y="1283110"/>
              <a:chExt cx="589936" cy="589936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FBD7E2DC-5A4B-D102-B599-826521D5B8AF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Freeform 280">
                <a:extLst>
                  <a:ext uri="{FF2B5EF4-FFF2-40B4-BE49-F238E27FC236}">
                    <a16:creationId xmlns:a16="http://schemas.microsoft.com/office/drawing/2014/main" id="{1ADDB4D1-2FB0-64CA-34C6-24A1195F0D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776285B-6646-BAF9-B40F-DA6C0AE16629}"/>
                </a:ext>
              </a:extLst>
            </p:cNvPr>
            <p:cNvGrpSpPr/>
            <p:nvPr/>
          </p:nvGrpSpPr>
          <p:grpSpPr>
            <a:xfrm>
              <a:off x="7610756" y="1698595"/>
              <a:ext cx="370502" cy="370502"/>
              <a:chOff x="3551571" y="1283110"/>
              <a:chExt cx="589936" cy="5899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65B342C0-433C-1ABB-D06D-A32B68B04652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Freeform 280">
                <a:extLst>
                  <a:ext uri="{FF2B5EF4-FFF2-40B4-BE49-F238E27FC236}">
                    <a16:creationId xmlns:a16="http://schemas.microsoft.com/office/drawing/2014/main" id="{390A0F27-533D-983D-A274-E47CBF88F8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D6F0C30-E44E-BECB-1950-67682CC33613}"/>
                </a:ext>
              </a:extLst>
            </p:cNvPr>
            <p:cNvGrpSpPr/>
            <p:nvPr/>
          </p:nvGrpSpPr>
          <p:grpSpPr>
            <a:xfrm>
              <a:off x="4255770" y="2437474"/>
              <a:ext cx="370502" cy="370502"/>
              <a:chOff x="3551571" y="1283110"/>
              <a:chExt cx="589936" cy="589936"/>
            </a:xfrm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D32E07A9-712F-BAD3-82F5-BE886F61467A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Freeform 280">
                <a:extLst>
                  <a:ext uri="{FF2B5EF4-FFF2-40B4-BE49-F238E27FC236}">
                    <a16:creationId xmlns:a16="http://schemas.microsoft.com/office/drawing/2014/main" id="{3C1545A4-9178-932F-380E-6030DDF5E2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D523C95-18C5-E023-01B5-804595EC92EB}"/>
                </a:ext>
              </a:extLst>
            </p:cNvPr>
            <p:cNvGrpSpPr/>
            <p:nvPr/>
          </p:nvGrpSpPr>
          <p:grpSpPr>
            <a:xfrm>
              <a:off x="7610756" y="2437474"/>
              <a:ext cx="370502" cy="370502"/>
              <a:chOff x="3551571" y="1283110"/>
              <a:chExt cx="589936" cy="589936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D120B2D1-ADB0-2FC5-80F4-EA1E56765AFF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Freeform 280">
                <a:extLst>
                  <a:ext uri="{FF2B5EF4-FFF2-40B4-BE49-F238E27FC236}">
                    <a16:creationId xmlns:a16="http://schemas.microsoft.com/office/drawing/2014/main" id="{04804888-6E37-4227-7D53-60C3586EB2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A9DDACF-CE3D-2EC5-EE59-C076C7EF92FD}"/>
                </a:ext>
              </a:extLst>
            </p:cNvPr>
            <p:cNvGrpSpPr/>
            <p:nvPr/>
          </p:nvGrpSpPr>
          <p:grpSpPr>
            <a:xfrm>
              <a:off x="4255770" y="3176353"/>
              <a:ext cx="370502" cy="370502"/>
              <a:chOff x="3551571" y="1283110"/>
              <a:chExt cx="589936" cy="589936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279348C6-673A-9377-534C-E1F0CD0CB8E3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Freeform 280">
                <a:extLst>
                  <a:ext uri="{FF2B5EF4-FFF2-40B4-BE49-F238E27FC236}">
                    <a16:creationId xmlns:a16="http://schemas.microsoft.com/office/drawing/2014/main" id="{5099C67C-6FDD-6E39-6E12-C5E354DF2EE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443E7C98-6AC2-2AF1-D933-2A9BE8116403}"/>
                </a:ext>
              </a:extLst>
            </p:cNvPr>
            <p:cNvGrpSpPr/>
            <p:nvPr/>
          </p:nvGrpSpPr>
          <p:grpSpPr>
            <a:xfrm>
              <a:off x="7610756" y="3176353"/>
              <a:ext cx="370502" cy="370502"/>
              <a:chOff x="3551571" y="1283110"/>
              <a:chExt cx="589936" cy="589936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EC85FCA-7A77-0EC4-8D7A-7BDBDCED6473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eform 280">
                <a:extLst>
                  <a:ext uri="{FF2B5EF4-FFF2-40B4-BE49-F238E27FC236}">
                    <a16:creationId xmlns:a16="http://schemas.microsoft.com/office/drawing/2014/main" id="{BF545388-3F49-8D0B-9479-E2E8E9E23E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74C5BD7-AB55-4C27-3CA3-8D0B23375F36}"/>
                </a:ext>
              </a:extLst>
            </p:cNvPr>
            <p:cNvGrpSpPr/>
            <p:nvPr/>
          </p:nvGrpSpPr>
          <p:grpSpPr>
            <a:xfrm>
              <a:off x="7610756" y="3915232"/>
              <a:ext cx="370502" cy="370502"/>
              <a:chOff x="3551571" y="1283110"/>
              <a:chExt cx="589936" cy="589936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F7933FFE-59C3-EACD-E75F-FE58F06F63C9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Freeform 280">
                <a:extLst>
                  <a:ext uri="{FF2B5EF4-FFF2-40B4-BE49-F238E27FC236}">
                    <a16:creationId xmlns:a16="http://schemas.microsoft.com/office/drawing/2014/main" id="{0E5199AB-C67E-7BB8-96A6-8E580F75AC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6B0B135-D04A-C5CC-1FE8-7332DA923B60}"/>
                </a:ext>
              </a:extLst>
            </p:cNvPr>
            <p:cNvGrpSpPr/>
            <p:nvPr/>
          </p:nvGrpSpPr>
          <p:grpSpPr>
            <a:xfrm>
              <a:off x="4255770" y="3915232"/>
              <a:ext cx="370502" cy="370502"/>
              <a:chOff x="7577881" y="1283110"/>
              <a:chExt cx="589936" cy="589936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1A92084-A15C-E618-8A28-6511E084B82F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Freeform 281">
                <a:extLst>
                  <a:ext uri="{FF2B5EF4-FFF2-40B4-BE49-F238E27FC236}">
                    <a16:creationId xmlns:a16="http://schemas.microsoft.com/office/drawing/2014/main" id="{352640A2-D079-2B97-B623-D8C90BC3E6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EE780DE3-6137-BEF1-EBF7-7C711152C5E2}"/>
                </a:ext>
              </a:extLst>
            </p:cNvPr>
            <p:cNvGrpSpPr/>
            <p:nvPr/>
          </p:nvGrpSpPr>
          <p:grpSpPr>
            <a:xfrm>
              <a:off x="7610756" y="4654111"/>
              <a:ext cx="370502" cy="370502"/>
              <a:chOff x="3551571" y="1283110"/>
              <a:chExt cx="589936" cy="589936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B2ABDE2D-DD86-45FF-A27C-1CCC402248D5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Freeform 280">
                <a:extLst>
                  <a:ext uri="{FF2B5EF4-FFF2-40B4-BE49-F238E27FC236}">
                    <a16:creationId xmlns:a16="http://schemas.microsoft.com/office/drawing/2014/main" id="{2F644159-3C16-A2A9-0028-ED13558710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2D07220-276B-406D-10D7-C99C8E4695A3}"/>
                </a:ext>
              </a:extLst>
            </p:cNvPr>
            <p:cNvGrpSpPr/>
            <p:nvPr/>
          </p:nvGrpSpPr>
          <p:grpSpPr>
            <a:xfrm>
              <a:off x="4255770" y="4654111"/>
              <a:ext cx="370502" cy="370502"/>
              <a:chOff x="7577881" y="1283110"/>
              <a:chExt cx="589936" cy="589936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C0A6169-6B51-3B92-6B3A-BBB1F4FC08EC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Freeform 281">
                <a:extLst>
                  <a:ext uri="{FF2B5EF4-FFF2-40B4-BE49-F238E27FC236}">
                    <a16:creationId xmlns:a16="http://schemas.microsoft.com/office/drawing/2014/main" id="{3898C27B-0481-78CF-7C20-C161304B24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FC9F407-25FD-5345-946B-4CEB74AD1C10}"/>
                </a:ext>
              </a:extLst>
            </p:cNvPr>
            <p:cNvGrpSpPr/>
            <p:nvPr/>
          </p:nvGrpSpPr>
          <p:grpSpPr>
            <a:xfrm>
              <a:off x="5095116" y="1258786"/>
              <a:ext cx="2046797" cy="4504704"/>
              <a:chOff x="5095116" y="1258786"/>
              <a:chExt cx="2046797" cy="4504704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26B1F50-20EC-3BCC-74A3-D9DDDE3FC368}"/>
                  </a:ext>
                </a:extLst>
              </p:cNvPr>
              <p:cNvSpPr/>
              <p:nvPr/>
            </p:nvSpPr>
            <p:spPr>
              <a:xfrm>
                <a:off x="5095116" y="1258786"/>
                <a:ext cx="928468" cy="215444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  <a:latin typeface="+mn-lt"/>
                  </a:rPr>
                  <a:t>Heading 2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1CEF33BA-FD30-DF7E-701E-19CC80D91FE6}"/>
                  </a:ext>
                </a:extLst>
              </p:cNvPr>
              <p:cNvGrpSpPr/>
              <p:nvPr/>
            </p:nvGrpSpPr>
            <p:grpSpPr>
              <a:xfrm>
                <a:off x="5374099" y="1698595"/>
                <a:ext cx="370502" cy="370502"/>
                <a:chOff x="7577881" y="1283110"/>
                <a:chExt cx="589936" cy="589936"/>
              </a:xfrm>
            </p:grpSpPr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AA6A9F43-F9CC-D33E-CED4-FCBEF85CF8CB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1" name="Freeform 281">
                  <a:extLst>
                    <a:ext uri="{FF2B5EF4-FFF2-40B4-BE49-F238E27FC236}">
                      <a16:creationId xmlns:a16="http://schemas.microsoft.com/office/drawing/2014/main" id="{A99ADACF-732A-BA96-C6CF-28A69073B24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8C6C2E2E-E99B-A9A4-F42E-16A017049DAD}"/>
                  </a:ext>
                </a:extLst>
              </p:cNvPr>
              <p:cNvGrpSpPr/>
              <p:nvPr/>
            </p:nvGrpSpPr>
            <p:grpSpPr>
              <a:xfrm>
                <a:off x="5374099" y="2437474"/>
                <a:ext cx="370502" cy="370502"/>
                <a:chOff x="7577881" y="1283110"/>
                <a:chExt cx="589936" cy="589936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735453BD-1B5B-23E3-6A68-7EBDFF3ADEC2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3" name="Freeform 281">
                  <a:extLst>
                    <a:ext uri="{FF2B5EF4-FFF2-40B4-BE49-F238E27FC236}">
                      <a16:creationId xmlns:a16="http://schemas.microsoft.com/office/drawing/2014/main" id="{F74C1636-6280-83E7-ECF9-CBB7FFC1DD2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5FCA2048-AAF4-B203-061F-58B63F1C3448}"/>
                  </a:ext>
                </a:extLst>
              </p:cNvPr>
              <p:cNvGrpSpPr/>
              <p:nvPr/>
            </p:nvGrpSpPr>
            <p:grpSpPr>
              <a:xfrm>
                <a:off x="5374099" y="3176353"/>
                <a:ext cx="370502" cy="370502"/>
                <a:chOff x="3551571" y="1283110"/>
                <a:chExt cx="589936" cy="589936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B0133495-1AB2-D34F-382E-381FD208B043}"/>
                    </a:ext>
                  </a:extLst>
                </p:cNvPr>
                <p:cNvSpPr/>
                <p:nvPr/>
              </p:nvSpPr>
              <p:spPr>
                <a:xfrm>
                  <a:off x="3551571" y="1283110"/>
                  <a:ext cx="589936" cy="58993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Freeform 280">
                  <a:extLst>
                    <a:ext uri="{FF2B5EF4-FFF2-40B4-BE49-F238E27FC236}">
                      <a16:creationId xmlns:a16="http://schemas.microsoft.com/office/drawing/2014/main" id="{CE757EB8-DB2F-2B0F-8262-7CD2E51CD04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5782" y="1380088"/>
                  <a:ext cx="401514" cy="395981"/>
                </a:xfrm>
                <a:custGeom>
                  <a:avLst/>
                  <a:gdLst>
                    <a:gd name="T0" fmla="*/ 0 w 648"/>
                    <a:gd name="T1" fmla="*/ 131 h 618"/>
                    <a:gd name="T2" fmla="*/ 33 w 648"/>
                    <a:gd name="T3" fmla="*/ 112 h 618"/>
                    <a:gd name="T4" fmla="*/ 46 w 648"/>
                    <a:gd name="T5" fmla="*/ 119 h 618"/>
                    <a:gd name="T6" fmla="*/ 70 w 648"/>
                    <a:gd name="T7" fmla="*/ 158 h 618"/>
                    <a:gd name="T8" fmla="*/ 106 w 648"/>
                    <a:gd name="T9" fmla="*/ 110 h 618"/>
                    <a:gd name="T10" fmla="*/ 165 w 648"/>
                    <a:gd name="T11" fmla="*/ 52 h 618"/>
                    <a:gd name="T12" fmla="*/ 203 w 648"/>
                    <a:gd name="T13" fmla="*/ 21 h 618"/>
                    <a:gd name="T14" fmla="*/ 240 w 648"/>
                    <a:gd name="T15" fmla="*/ 0 h 618"/>
                    <a:gd name="T16" fmla="*/ 246 w 648"/>
                    <a:gd name="T17" fmla="*/ 9 h 618"/>
                    <a:gd name="T18" fmla="*/ 215 w 648"/>
                    <a:gd name="T19" fmla="*/ 34 h 618"/>
                    <a:gd name="T20" fmla="*/ 170 w 648"/>
                    <a:gd name="T21" fmla="*/ 80 h 618"/>
                    <a:gd name="T22" fmla="*/ 131 w 648"/>
                    <a:gd name="T23" fmla="*/ 126 h 618"/>
                    <a:gd name="T24" fmla="*/ 89 w 648"/>
                    <a:gd name="T25" fmla="*/ 194 h 618"/>
                    <a:gd name="T26" fmla="*/ 55 w 648"/>
                    <a:gd name="T27" fmla="*/ 216 h 618"/>
                    <a:gd name="T28" fmla="*/ 31 w 648"/>
                    <a:gd name="T29" fmla="*/ 163 h 618"/>
                    <a:gd name="T30" fmla="*/ 16 w 648"/>
                    <a:gd name="T31" fmla="*/ 141 h 618"/>
                    <a:gd name="T32" fmla="*/ 0 w 648"/>
                    <a:gd name="T33" fmla="*/ 131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B572E34D-6E7F-18EC-1590-8B2FABF390BF}"/>
                  </a:ext>
                </a:extLst>
              </p:cNvPr>
              <p:cNvGrpSpPr/>
              <p:nvPr/>
            </p:nvGrpSpPr>
            <p:grpSpPr>
              <a:xfrm>
                <a:off x="5374099" y="3915232"/>
                <a:ext cx="370502" cy="370502"/>
                <a:chOff x="7577881" y="1283110"/>
                <a:chExt cx="589936" cy="589936"/>
              </a:xfrm>
            </p:grpSpPr>
            <p:sp>
              <p:nvSpPr>
                <p:cNvPr id="68" name="Oval 67">
                  <a:extLst>
                    <a:ext uri="{FF2B5EF4-FFF2-40B4-BE49-F238E27FC236}">
                      <a16:creationId xmlns:a16="http://schemas.microsoft.com/office/drawing/2014/main" id="{94974DAC-E367-CCB7-B02E-1A4087F99729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9" name="Freeform 281">
                  <a:extLst>
                    <a:ext uri="{FF2B5EF4-FFF2-40B4-BE49-F238E27FC236}">
                      <a16:creationId xmlns:a16="http://schemas.microsoft.com/office/drawing/2014/main" id="{DD1EA5B4-5127-D390-98CE-9EA443CC36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CA393C7A-1791-5F74-AAF4-A6C0C894D08D}"/>
                  </a:ext>
                </a:extLst>
              </p:cNvPr>
              <p:cNvGrpSpPr/>
              <p:nvPr/>
            </p:nvGrpSpPr>
            <p:grpSpPr>
              <a:xfrm>
                <a:off x="5374099" y="4654111"/>
                <a:ext cx="370502" cy="370502"/>
                <a:chOff x="7577881" y="1283110"/>
                <a:chExt cx="589936" cy="589936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D8809D17-570D-A498-38D9-E5A7A5A0FD1C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Freeform 281">
                  <a:extLst>
                    <a:ext uri="{FF2B5EF4-FFF2-40B4-BE49-F238E27FC236}">
                      <a16:creationId xmlns:a16="http://schemas.microsoft.com/office/drawing/2014/main" id="{40AED3D4-1378-5A6A-902E-36B30574328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EB3C54E5-A2DF-0470-4984-F64CF4A9EB4B}"/>
                  </a:ext>
                </a:extLst>
              </p:cNvPr>
              <p:cNvGrpSpPr/>
              <p:nvPr/>
            </p:nvGrpSpPr>
            <p:grpSpPr>
              <a:xfrm>
                <a:off x="5374099" y="5392988"/>
                <a:ext cx="370502" cy="370502"/>
                <a:chOff x="7577881" y="1283110"/>
                <a:chExt cx="589936" cy="589936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5943BA00-365E-45E2-392B-D66004C62712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Freeform 281">
                  <a:extLst>
                    <a:ext uri="{FF2B5EF4-FFF2-40B4-BE49-F238E27FC236}">
                      <a16:creationId xmlns:a16="http://schemas.microsoft.com/office/drawing/2014/main" id="{65184889-8C47-F4C3-9276-C1C6822A68C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A5BB3BF8-369B-71E5-E604-FFA076CB11C8}"/>
                  </a:ext>
                </a:extLst>
              </p:cNvPr>
              <p:cNvGrpSpPr/>
              <p:nvPr/>
            </p:nvGrpSpPr>
            <p:grpSpPr>
              <a:xfrm>
                <a:off x="6213445" y="1258786"/>
                <a:ext cx="928468" cy="4504704"/>
                <a:chOff x="6213445" y="1258786"/>
                <a:chExt cx="928468" cy="4504704"/>
              </a:xfrm>
            </p:grpSpPr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E0E1624D-6F8E-4EB6-7AC1-A105E66F223F}"/>
                    </a:ext>
                  </a:extLst>
                </p:cNvPr>
                <p:cNvSpPr/>
                <p:nvPr/>
              </p:nvSpPr>
              <p:spPr>
                <a:xfrm>
                  <a:off x="6213445" y="1258786"/>
                  <a:ext cx="928468" cy="215444"/>
                </a:xfrm>
                <a:prstGeom prst="rect">
                  <a:avLst/>
                </a:prstGeom>
                <a:noFill/>
                <a:ln w="12700" cap="rnd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accent1"/>
                      </a:solidFill>
                      <a:latin typeface="+mn-lt"/>
                    </a:rPr>
                    <a:t>Heading 3</a:t>
                  </a:r>
                </a:p>
              </p:txBody>
            </p: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A1E2C11E-B7E6-FCEC-938D-07092CB19BBD}"/>
                    </a:ext>
                  </a:extLst>
                </p:cNvPr>
                <p:cNvGrpSpPr/>
                <p:nvPr/>
              </p:nvGrpSpPr>
              <p:grpSpPr>
                <a:xfrm>
                  <a:off x="6492428" y="1698595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88" name="Oval 87">
                    <a:extLst>
                      <a:ext uri="{FF2B5EF4-FFF2-40B4-BE49-F238E27FC236}">
                        <a16:creationId xmlns:a16="http://schemas.microsoft.com/office/drawing/2014/main" id="{46D1791E-B136-AC8C-996B-FADDF601C16E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9" name="Freeform 281">
                    <a:extLst>
                      <a:ext uri="{FF2B5EF4-FFF2-40B4-BE49-F238E27FC236}">
                        <a16:creationId xmlns:a16="http://schemas.microsoft.com/office/drawing/2014/main" id="{14DE23CF-D545-07AA-E6CC-83BEF36600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9CA5F993-D55D-70CC-8437-728B6CD7EAC3}"/>
                    </a:ext>
                  </a:extLst>
                </p:cNvPr>
                <p:cNvGrpSpPr/>
                <p:nvPr/>
              </p:nvGrpSpPr>
              <p:grpSpPr>
                <a:xfrm>
                  <a:off x="6492428" y="2437474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80" name="Oval 79">
                    <a:extLst>
                      <a:ext uri="{FF2B5EF4-FFF2-40B4-BE49-F238E27FC236}">
                        <a16:creationId xmlns:a16="http://schemas.microsoft.com/office/drawing/2014/main" id="{4A25072D-E146-4FD6-0441-4BFCB60F5810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1" name="Freeform 281">
                    <a:extLst>
                      <a:ext uri="{FF2B5EF4-FFF2-40B4-BE49-F238E27FC236}">
                        <a16:creationId xmlns:a16="http://schemas.microsoft.com/office/drawing/2014/main" id="{7A17D9FE-C8E2-A9D9-34C7-246A84C4130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8E2B0422-8FEA-2A7C-9B6D-668BF3386346}"/>
                    </a:ext>
                  </a:extLst>
                </p:cNvPr>
                <p:cNvGrpSpPr/>
                <p:nvPr/>
              </p:nvGrpSpPr>
              <p:grpSpPr>
                <a:xfrm>
                  <a:off x="6492428" y="3176353"/>
                  <a:ext cx="370502" cy="370502"/>
                  <a:chOff x="3551571" y="1283110"/>
                  <a:chExt cx="589936" cy="589936"/>
                </a:xfrm>
              </p:grpSpPr>
              <p:sp>
                <p:nvSpPr>
                  <p:cNvPr id="70" name="Oval 69">
                    <a:extLst>
                      <a:ext uri="{FF2B5EF4-FFF2-40B4-BE49-F238E27FC236}">
                        <a16:creationId xmlns:a16="http://schemas.microsoft.com/office/drawing/2014/main" id="{19E68C7C-7871-AD50-3E71-3A4F666AA86B}"/>
                      </a:ext>
                    </a:extLst>
                  </p:cNvPr>
                  <p:cNvSpPr/>
                  <p:nvPr/>
                </p:nvSpPr>
                <p:spPr>
                  <a:xfrm>
                    <a:off x="3551571" y="1283110"/>
                    <a:ext cx="589936" cy="589936"/>
                  </a:xfrm>
                  <a:prstGeom prst="ellipse">
                    <a:avLst/>
                  </a:prstGeom>
                  <a:solidFill>
                    <a:srgbClr val="FF000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Freeform 280">
                    <a:extLst>
                      <a:ext uri="{FF2B5EF4-FFF2-40B4-BE49-F238E27FC236}">
                        <a16:creationId xmlns:a16="http://schemas.microsoft.com/office/drawing/2014/main" id="{39C0E2EB-4E2B-F130-B9B1-A32EEB6241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645782" y="1380088"/>
                    <a:ext cx="401514" cy="395981"/>
                  </a:xfrm>
                  <a:custGeom>
                    <a:avLst/>
                    <a:gdLst>
                      <a:gd name="T0" fmla="*/ 0 w 648"/>
                      <a:gd name="T1" fmla="*/ 131 h 618"/>
                      <a:gd name="T2" fmla="*/ 33 w 648"/>
                      <a:gd name="T3" fmla="*/ 112 h 618"/>
                      <a:gd name="T4" fmla="*/ 46 w 648"/>
                      <a:gd name="T5" fmla="*/ 119 h 618"/>
                      <a:gd name="T6" fmla="*/ 70 w 648"/>
                      <a:gd name="T7" fmla="*/ 158 h 618"/>
                      <a:gd name="T8" fmla="*/ 106 w 648"/>
                      <a:gd name="T9" fmla="*/ 110 h 618"/>
                      <a:gd name="T10" fmla="*/ 165 w 648"/>
                      <a:gd name="T11" fmla="*/ 52 h 618"/>
                      <a:gd name="T12" fmla="*/ 203 w 648"/>
                      <a:gd name="T13" fmla="*/ 21 h 618"/>
                      <a:gd name="T14" fmla="*/ 240 w 648"/>
                      <a:gd name="T15" fmla="*/ 0 h 618"/>
                      <a:gd name="T16" fmla="*/ 246 w 648"/>
                      <a:gd name="T17" fmla="*/ 9 h 618"/>
                      <a:gd name="T18" fmla="*/ 215 w 648"/>
                      <a:gd name="T19" fmla="*/ 34 h 618"/>
                      <a:gd name="T20" fmla="*/ 170 w 648"/>
                      <a:gd name="T21" fmla="*/ 80 h 618"/>
                      <a:gd name="T22" fmla="*/ 131 w 648"/>
                      <a:gd name="T23" fmla="*/ 126 h 618"/>
                      <a:gd name="T24" fmla="*/ 89 w 648"/>
                      <a:gd name="T25" fmla="*/ 194 h 618"/>
                      <a:gd name="T26" fmla="*/ 55 w 648"/>
                      <a:gd name="T27" fmla="*/ 216 h 618"/>
                      <a:gd name="T28" fmla="*/ 31 w 648"/>
                      <a:gd name="T29" fmla="*/ 163 h 618"/>
                      <a:gd name="T30" fmla="*/ 16 w 648"/>
                      <a:gd name="T31" fmla="*/ 141 h 618"/>
                      <a:gd name="T32" fmla="*/ 0 w 648"/>
                      <a:gd name="T33" fmla="*/ 131 h 618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0" t="0" r="r" b="b"/>
                    <a:pathLst>
                      <a:path w="648" h="618">
                        <a:moveTo>
                          <a:pt x="0" y="374"/>
                        </a:moveTo>
                        <a:lnTo>
                          <a:pt x="88" y="320"/>
                        </a:lnTo>
                        <a:lnTo>
                          <a:pt x="122" y="340"/>
                        </a:lnTo>
                        <a:lnTo>
                          <a:pt x="184" y="452"/>
                        </a:lnTo>
                        <a:lnTo>
                          <a:pt x="278" y="316"/>
                        </a:lnTo>
                        <a:lnTo>
                          <a:pt x="434" y="148"/>
                        </a:lnTo>
                        <a:lnTo>
                          <a:pt x="534" y="60"/>
                        </a:lnTo>
                        <a:lnTo>
                          <a:pt x="632" y="0"/>
                        </a:lnTo>
                        <a:lnTo>
                          <a:pt x="648" y="26"/>
                        </a:lnTo>
                        <a:lnTo>
                          <a:pt x="566" y="98"/>
                        </a:lnTo>
                        <a:lnTo>
                          <a:pt x="448" y="230"/>
                        </a:lnTo>
                        <a:lnTo>
                          <a:pt x="346" y="360"/>
                        </a:lnTo>
                        <a:lnTo>
                          <a:pt x="234" y="554"/>
                        </a:lnTo>
                        <a:lnTo>
                          <a:pt x="144" y="618"/>
                        </a:lnTo>
                        <a:lnTo>
                          <a:pt x="82" y="466"/>
                        </a:lnTo>
                        <a:lnTo>
                          <a:pt x="42" y="404"/>
                        </a:lnTo>
                        <a:lnTo>
                          <a:pt x="0" y="3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6CCA2164-62FF-67F3-8EFF-31EF5AA791E2}"/>
                    </a:ext>
                  </a:extLst>
                </p:cNvPr>
                <p:cNvGrpSpPr/>
                <p:nvPr/>
              </p:nvGrpSpPr>
              <p:grpSpPr>
                <a:xfrm>
                  <a:off x="6492428" y="3915232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66" name="Oval 65">
                    <a:extLst>
                      <a:ext uri="{FF2B5EF4-FFF2-40B4-BE49-F238E27FC236}">
                        <a16:creationId xmlns:a16="http://schemas.microsoft.com/office/drawing/2014/main" id="{6BFC3F43-3F4F-2433-ABF4-C25C27989B4D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Freeform 281">
                    <a:extLst>
                      <a:ext uri="{FF2B5EF4-FFF2-40B4-BE49-F238E27FC236}">
                        <a16:creationId xmlns:a16="http://schemas.microsoft.com/office/drawing/2014/main" id="{727CD332-EE6F-EBC1-582D-32AFE1FC16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954AA4B9-2988-9AAE-A11E-7BF04305D811}"/>
                    </a:ext>
                  </a:extLst>
                </p:cNvPr>
                <p:cNvGrpSpPr/>
                <p:nvPr/>
              </p:nvGrpSpPr>
              <p:grpSpPr>
                <a:xfrm>
                  <a:off x="6492428" y="4654111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58" name="Oval 57">
                    <a:extLst>
                      <a:ext uri="{FF2B5EF4-FFF2-40B4-BE49-F238E27FC236}">
                        <a16:creationId xmlns:a16="http://schemas.microsoft.com/office/drawing/2014/main" id="{D3B4C01A-2D8E-F162-61A7-2E73C4F3843C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" name="Freeform 281">
                    <a:extLst>
                      <a:ext uri="{FF2B5EF4-FFF2-40B4-BE49-F238E27FC236}">
                        <a16:creationId xmlns:a16="http://schemas.microsoft.com/office/drawing/2014/main" id="{3D82F586-68E8-195D-A4F4-A8A0381495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4B2E3047-6427-9D03-0990-FA94E1651BD9}"/>
                    </a:ext>
                  </a:extLst>
                </p:cNvPr>
                <p:cNvGrpSpPr/>
                <p:nvPr/>
              </p:nvGrpSpPr>
              <p:grpSpPr>
                <a:xfrm>
                  <a:off x="6492428" y="5392988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49" name="Oval 48">
                    <a:extLst>
                      <a:ext uri="{FF2B5EF4-FFF2-40B4-BE49-F238E27FC236}">
                        <a16:creationId xmlns:a16="http://schemas.microsoft.com/office/drawing/2014/main" id="{ACFB6634-A0FF-8938-5B12-486A2BC29944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" name="Freeform 281">
                    <a:extLst>
                      <a:ext uri="{FF2B5EF4-FFF2-40B4-BE49-F238E27FC236}">
                        <a16:creationId xmlns:a16="http://schemas.microsoft.com/office/drawing/2014/main" id="{D9705B5C-1A45-9C21-7909-46ADD649D6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0533788-CE29-69D6-50D9-F42C043B4655}"/>
                </a:ext>
              </a:extLst>
            </p:cNvPr>
            <p:cNvGrpSpPr/>
            <p:nvPr/>
          </p:nvGrpSpPr>
          <p:grpSpPr>
            <a:xfrm>
              <a:off x="7610756" y="5392988"/>
              <a:ext cx="370502" cy="370502"/>
              <a:chOff x="3551571" y="1283110"/>
              <a:chExt cx="589936" cy="589936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D3CE3EB1-1D71-0E67-CD1B-9CFDEA0825C9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 280">
                <a:extLst>
                  <a:ext uri="{FF2B5EF4-FFF2-40B4-BE49-F238E27FC236}">
                    <a16:creationId xmlns:a16="http://schemas.microsoft.com/office/drawing/2014/main" id="{C42CFD82-36CD-3B1E-B3FA-BA3EEA40F9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B86E662-87EB-BD51-D63B-ECC4C1461A52}"/>
                </a:ext>
              </a:extLst>
            </p:cNvPr>
            <p:cNvGrpSpPr/>
            <p:nvPr/>
          </p:nvGrpSpPr>
          <p:grpSpPr>
            <a:xfrm>
              <a:off x="4255770" y="5392988"/>
              <a:ext cx="370502" cy="370502"/>
              <a:chOff x="7577881" y="1283110"/>
              <a:chExt cx="589936" cy="589936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217A130-608B-C458-1DF6-BD02BE030AE9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Freeform 281">
                <a:extLst>
                  <a:ext uri="{FF2B5EF4-FFF2-40B4-BE49-F238E27FC236}">
                    <a16:creationId xmlns:a16="http://schemas.microsoft.com/office/drawing/2014/main" id="{5858CE33-64D1-242E-1168-604B4E98BB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1C113A4-C860-67B5-9F00-3B02F1339691}"/>
                </a:ext>
              </a:extLst>
            </p:cNvPr>
            <p:cNvSpPr/>
            <p:nvPr/>
          </p:nvSpPr>
          <p:spPr>
            <a:xfrm>
              <a:off x="8543257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5</a:t>
              </a: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810C285-304C-4D3E-370E-275FCA8EF08E}"/>
                </a:ext>
              </a:extLst>
            </p:cNvPr>
            <p:cNvGrpSpPr/>
            <p:nvPr/>
          </p:nvGrpSpPr>
          <p:grpSpPr>
            <a:xfrm>
              <a:off x="8822240" y="1698595"/>
              <a:ext cx="370502" cy="370502"/>
              <a:chOff x="7577881" y="1283110"/>
              <a:chExt cx="589936" cy="589936"/>
            </a:xfrm>
          </p:grpSpPr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7B2B8C1-C7A4-B205-1194-98CDDF2BF29B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Freeform 281">
                <a:extLst>
                  <a:ext uri="{FF2B5EF4-FFF2-40B4-BE49-F238E27FC236}">
                    <a16:creationId xmlns:a16="http://schemas.microsoft.com/office/drawing/2014/main" id="{87AC6CEB-8DF3-F31F-81B4-9B0D4F8DDA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450EFEC1-53B2-589B-2141-8DA4DDEEFD0D}"/>
                </a:ext>
              </a:extLst>
            </p:cNvPr>
            <p:cNvGrpSpPr/>
            <p:nvPr/>
          </p:nvGrpSpPr>
          <p:grpSpPr>
            <a:xfrm>
              <a:off x="8822240" y="2437474"/>
              <a:ext cx="370502" cy="370502"/>
              <a:chOff x="7577881" y="1283110"/>
              <a:chExt cx="589936" cy="589936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7B968E92-5626-C63C-A068-6A491543C0D3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Freeform 281">
                <a:extLst>
                  <a:ext uri="{FF2B5EF4-FFF2-40B4-BE49-F238E27FC236}">
                    <a16:creationId xmlns:a16="http://schemas.microsoft.com/office/drawing/2014/main" id="{4CEC5BE1-D061-B5DF-759B-2981C62AF9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2297D7DF-F43F-32DB-90C1-67F419D591E1}"/>
                </a:ext>
              </a:extLst>
            </p:cNvPr>
            <p:cNvGrpSpPr/>
            <p:nvPr/>
          </p:nvGrpSpPr>
          <p:grpSpPr>
            <a:xfrm>
              <a:off x="8822240" y="3176353"/>
              <a:ext cx="370502" cy="370502"/>
              <a:chOff x="3551571" y="1283110"/>
              <a:chExt cx="589936" cy="589936"/>
            </a:xfrm>
          </p:grpSpPr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FC8296B6-CD15-9C41-FE7C-B7B832BB3021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Freeform 280">
                <a:extLst>
                  <a:ext uri="{FF2B5EF4-FFF2-40B4-BE49-F238E27FC236}">
                    <a16:creationId xmlns:a16="http://schemas.microsoft.com/office/drawing/2014/main" id="{F59F5171-7FF5-CE0D-9663-0741E78FE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40770F1B-DB06-56F4-F207-915D5B8E7828}"/>
                </a:ext>
              </a:extLst>
            </p:cNvPr>
            <p:cNvGrpSpPr/>
            <p:nvPr/>
          </p:nvGrpSpPr>
          <p:grpSpPr>
            <a:xfrm>
              <a:off x="8822240" y="3915232"/>
              <a:ext cx="370502" cy="370502"/>
              <a:chOff x="7577881" y="1283110"/>
              <a:chExt cx="589936" cy="589936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D5CB708D-A0A5-1B8B-847E-025CB2029C37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Freeform 281">
                <a:extLst>
                  <a:ext uri="{FF2B5EF4-FFF2-40B4-BE49-F238E27FC236}">
                    <a16:creationId xmlns:a16="http://schemas.microsoft.com/office/drawing/2014/main" id="{FE21707F-DC4A-6317-E59F-FFE191A4C7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5C75D20-8ACF-C8C8-1E5B-00AC91E517A1}"/>
                </a:ext>
              </a:extLst>
            </p:cNvPr>
            <p:cNvGrpSpPr/>
            <p:nvPr/>
          </p:nvGrpSpPr>
          <p:grpSpPr>
            <a:xfrm>
              <a:off x="8822240" y="4654111"/>
              <a:ext cx="370502" cy="370502"/>
              <a:chOff x="7577881" y="1283110"/>
              <a:chExt cx="589936" cy="5899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D86E860A-416E-10FB-19D5-9BD6706C19D1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7" name="Freeform 281">
                <a:extLst>
                  <a:ext uri="{FF2B5EF4-FFF2-40B4-BE49-F238E27FC236}">
                    <a16:creationId xmlns:a16="http://schemas.microsoft.com/office/drawing/2014/main" id="{22202FCE-320F-742C-B572-F111335CFC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CA1FA585-7F95-707F-A7E5-C26E405F70AB}"/>
                </a:ext>
              </a:extLst>
            </p:cNvPr>
            <p:cNvGrpSpPr/>
            <p:nvPr/>
          </p:nvGrpSpPr>
          <p:grpSpPr>
            <a:xfrm>
              <a:off x="8822240" y="5392988"/>
              <a:ext cx="370502" cy="370502"/>
              <a:chOff x="7577881" y="1283110"/>
              <a:chExt cx="589936" cy="589936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9FFF6277-02B6-0246-2041-86B9178BB150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Freeform 281">
                <a:extLst>
                  <a:ext uri="{FF2B5EF4-FFF2-40B4-BE49-F238E27FC236}">
                    <a16:creationId xmlns:a16="http://schemas.microsoft.com/office/drawing/2014/main" id="{1B6E808C-2668-2D73-ED2F-809C16CA0D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1C9E5309-B687-6B84-FC8D-71F2DEA96D01}"/>
                </a:ext>
              </a:extLst>
            </p:cNvPr>
            <p:cNvGrpSpPr/>
            <p:nvPr/>
          </p:nvGrpSpPr>
          <p:grpSpPr>
            <a:xfrm>
              <a:off x="9661586" y="1258786"/>
              <a:ext cx="928468" cy="4504704"/>
              <a:chOff x="6213445" y="1258786"/>
              <a:chExt cx="928468" cy="4504704"/>
            </a:xfrm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D0F8CC41-E1DF-D9F0-F9E9-7D02A85B5595}"/>
                  </a:ext>
                </a:extLst>
              </p:cNvPr>
              <p:cNvSpPr/>
              <p:nvPr/>
            </p:nvSpPr>
            <p:spPr>
              <a:xfrm>
                <a:off x="6213445" y="1258786"/>
                <a:ext cx="928468" cy="215444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  <a:latin typeface="+mn-lt"/>
                  </a:rPr>
                  <a:t>Heading 6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7AB4FC34-945C-B6FA-94F6-CE40FDF5A879}"/>
                  </a:ext>
                </a:extLst>
              </p:cNvPr>
              <p:cNvGrpSpPr/>
              <p:nvPr/>
            </p:nvGrpSpPr>
            <p:grpSpPr>
              <a:xfrm>
                <a:off x="6492428" y="1698595"/>
                <a:ext cx="370502" cy="370502"/>
                <a:chOff x="7577881" y="1283110"/>
                <a:chExt cx="589936" cy="589936"/>
              </a:xfrm>
            </p:grpSpPr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53B8277-2530-79E8-C0E9-050B27D0A613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Freeform 281">
                  <a:extLst>
                    <a:ext uri="{FF2B5EF4-FFF2-40B4-BE49-F238E27FC236}">
                      <a16:creationId xmlns:a16="http://schemas.microsoft.com/office/drawing/2014/main" id="{E5F5A468-3B79-EF7E-39EC-32A9206F6B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49B24CBB-5F9F-9E21-5DA1-45AD6EF4BA95}"/>
                  </a:ext>
                </a:extLst>
              </p:cNvPr>
              <p:cNvGrpSpPr/>
              <p:nvPr/>
            </p:nvGrpSpPr>
            <p:grpSpPr>
              <a:xfrm>
                <a:off x="6492428" y="2437474"/>
                <a:ext cx="370502" cy="370502"/>
                <a:chOff x="7577881" y="1283110"/>
                <a:chExt cx="589936" cy="589936"/>
              </a:xfrm>
            </p:grpSpPr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EAD7576C-EEE9-9823-B6FD-2D3478CC9EF9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Freeform 281">
                  <a:extLst>
                    <a:ext uri="{FF2B5EF4-FFF2-40B4-BE49-F238E27FC236}">
                      <a16:creationId xmlns:a16="http://schemas.microsoft.com/office/drawing/2014/main" id="{96791465-3122-451E-7EE5-3E42BD6DDD9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430CA6AE-2B3F-A7C4-AE33-ACE2A10A86C8}"/>
                  </a:ext>
                </a:extLst>
              </p:cNvPr>
              <p:cNvGrpSpPr/>
              <p:nvPr/>
            </p:nvGrpSpPr>
            <p:grpSpPr>
              <a:xfrm>
                <a:off x="6492428" y="3176353"/>
                <a:ext cx="370502" cy="370502"/>
                <a:chOff x="3551571" y="1283110"/>
                <a:chExt cx="589936" cy="589936"/>
              </a:xfrm>
            </p:grpSpPr>
            <p:sp>
              <p:nvSpPr>
                <p:cNvPr id="118" name="Oval 117">
                  <a:extLst>
                    <a:ext uri="{FF2B5EF4-FFF2-40B4-BE49-F238E27FC236}">
                      <a16:creationId xmlns:a16="http://schemas.microsoft.com/office/drawing/2014/main" id="{48202EBE-61C3-67E4-6AF2-8F6D26B7715F}"/>
                    </a:ext>
                  </a:extLst>
                </p:cNvPr>
                <p:cNvSpPr/>
                <p:nvPr/>
              </p:nvSpPr>
              <p:spPr>
                <a:xfrm>
                  <a:off x="3551571" y="1283110"/>
                  <a:ext cx="589936" cy="58993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9" name="Freeform 280">
                  <a:extLst>
                    <a:ext uri="{FF2B5EF4-FFF2-40B4-BE49-F238E27FC236}">
                      <a16:creationId xmlns:a16="http://schemas.microsoft.com/office/drawing/2014/main" id="{D0A53578-5D7B-CBAC-C823-E602C666DF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5782" y="1380088"/>
                  <a:ext cx="401514" cy="395981"/>
                </a:xfrm>
                <a:custGeom>
                  <a:avLst/>
                  <a:gdLst>
                    <a:gd name="T0" fmla="*/ 0 w 648"/>
                    <a:gd name="T1" fmla="*/ 131 h 618"/>
                    <a:gd name="T2" fmla="*/ 33 w 648"/>
                    <a:gd name="T3" fmla="*/ 112 h 618"/>
                    <a:gd name="T4" fmla="*/ 46 w 648"/>
                    <a:gd name="T5" fmla="*/ 119 h 618"/>
                    <a:gd name="T6" fmla="*/ 70 w 648"/>
                    <a:gd name="T7" fmla="*/ 158 h 618"/>
                    <a:gd name="T8" fmla="*/ 106 w 648"/>
                    <a:gd name="T9" fmla="*/ 110 h 618"/>
                    <a:gd name="T10" fmla="*/ 165 w 648"/>
                    <a:gd name="T11" fmla="*/ 52 h 618"/>
                    <a:gd name="T12" fmla="*/ 203 w 648"/>
                    <a:gd name="T13" fmla="*/ 21 h 618"/>
                    <a:gd name="T14" fmla="*/ 240 w 648"/>
                    <a:gd name="T15" fmla="*/ 0 h 618"/>
                    <a:gd name="T16" fmla="*/ 246 w 648"/>
                    <a:gd name="T17" fmla="*/ 9 h 618"/>
                    <a:gd name="T18" fmla="*/ 215 w 648"/>
                    <a:gd name="T19" fmla="*/ 34 h 618"/>
                    <a:gd name="T20" fmla="*/ 170 w 648"/>
                    <a:gd name="T21" fmla="*/ 80 h 618"/>
                    <a:gd name="T22" fmla="*/ 131 w 648"/>
                    <a:gd name="T23" fmla="*/ 126 h 618"/>
                    <a:gd name="T24" fmla="*/ 89 w 648"/>
                    <a:gd name="T25" fmla="*/ 194 h 618"/>
                    <a:gd name="T26" fmla="*/ 55 w 648"/>
                    <a:gd name="T27" fmla="*/ 216 h 618"/>
                    <a:gd name="T28" fmla="*/ 31 w 648"/>
                    <a:gd name="T29" fmla="*/ 163 h 618"/>
                    <a:gd name="T30" fmla="*/ 16 w 648"/>
                    <a:gd name="T31" fmla="*/ 141 h 618"/>
                    <a:gd name="T32" fmla="*/ 0 w 648"/>
                    <a:gd name="T33" fmla="*/ 131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EF335FFC-FCEE-284D-6CA1-2FA86E65C8B3}"/>
                  </a:ext>
                </a:extLst>
              </p:cNvPr>
              <p:cNvGrpSpPr/>
              <p:nvPr/>
            </p:nvGrpSpPr>
            <p:grpSpPr>
              <a:xfrm>
                <a:off x="6492428" y="3915232"/>
                <a:ext cx="370502" cy="370502"/>
                <a:chOff x="7577881" y="1283110"/>
                <a:chExt cx="589936" cy="589936"/>
              </a:xfrm>
            </p:grpSpPr>
            <p:sp>
              <p:nvSpPr>
                <p:cNvPr id="116" name="Oval 115">
                  <a:extLst>
                    <a:ext uri="{FF2B5EF4-FFF2-40B4-BE49-F238E27FC236}">
                      <a16:creationId xmlns:a16="http://schemas.microsoft.com/office/drawing/2014/main" id="{8CB24EAC-E5CB-9388-C29D-D3CC82B797DB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7" name="Freeform 281">
                  <a:extLst>
                    <a:ext uri="{FF2B5EF4-FFF2-40B4-BE49-F238E27FC236}">
                      <a16:creationId xmlns:a16="http://schemas.microsoft.com/office/drawing/2014/main" id="{8A9F2A25-05BA-F21F-4AF1-20C813F487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5D0F01B4-AF7F-3EFF-DD01-E6EBAD1F71D7}"/>
                  </a:ext>
                </a:extLst>
              </p:cNvPr>
              <p:cNvGrpSpPr/>
              <p:nvPr/>
            </p:nvGrpSpPr>
            <p:grpSpPr>
              <a:xfrm>
                <a:off x="6492428" y="4654111"/>
                <a:ext cx="370502" cy="370502"/>
                <a:chOff x="7577881" y="1283110"/>
                <a:chExt cx="589936" cy="589936"/>
              </a:xfrm>
            </p:grpSpPr>
            <p:sp>
              <p:nvSpPr>
                <p:cNvPr id="114" name="Oval 113">
                  <a:extLst>
                    <a:ext uri="{FF2B5EF4-FFF2-40B4-BE49-F238E27FC236}">
                      <a16:creationId xmlns:a16="http://schemas.microsoft.com/office/drawing/2014/main" id="{9BAD8328-4138-F8F8-FB95-95A4B13E25E8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5" name="Freeform 281">
                  <a:extLst>
                    <a:ext uri="{FF2B5EF4-FFF2-40B4-BE49-F238E27FC236}">
                      <a16:creationId xmlns:a16="http://schemas.microsoft.com/office/drawing/2014/main" id="{30B3D59C-6268-42C6-20EF-2CAC4C6B213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A02D448C-FAA1-D3B4-5A41-5AF76728900D}"/>
                  </a:ext>
                </a:extLst>
              </p:cNvPr>
              <p:cNvGrpSpPr/>
              <p:nvPr/>
            </p:nvGrpSpPr>
            <p:grpSpPr>
              <a:xfrm>
                <a:off x="6492428" y="5392988"/>
                <a:ext cx="370502" cy="370502"/>
                <a:chOff x="7577881" y="1283110"/>
                <a:chExt cx="589936" cy="589936"/>
              </a:xfrm>
            </p:grpSpPr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2340A3B1-E241-5DC0-56D4-5D1A43C21190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3" name="Freeform 281">
                  <a:extLst>
                    <a:ext uri="{FF2B5EF4-FFF2-40B4-BE49-F238E27FC236}">
                      <a16:creationId xmlns:a16="http://schemas.microsoft.com/office/drawing/2014/main" id="{95C4B03C-F397-791C-003D-820C790A881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027722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7</TotalTime>
  <Words>20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06</cp:revision>
  <dcterms:created xsi:type="dcterms:W3CDTF">2021-03-31T02:49:57Z</dcterms:created>
  <dcterms:modified xsi:type="dcterms:W3CDTF">2025-10-15T02:47:31Z</dcterms:modified>
  <cp:category/>
</cp:coreProperties>
</file>